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3"/>
  </p:notesMasterIdLst>
  <p:sldIdLst>
    <p:sldId id="257" r:id="rId2"/>
    <p:sldId id="490" r:id="rId3"/>
    <p:sldId id="520" r:id="rId4"/>
    <p:sldId id="500" r:id="rId5"/>
    <p:sldId id="554" r:id="rId6"/>
    <p:sldId id="555" r:id="rId7"/>
    <p:sldId id="543" r:id="rId8"/>
    <p:sldId id="545" r:id="rId9"/>
    <p:sldId id="546" r:id="rId10"/>
    <p:sldId id="556" r:id="rId11"/>
    <p:sldId id="527" r:id="rId12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ПС" id="{AAF2AA1A-4E7D-46C5-960C-1F90D43D5C2A}">
          <p14:sldIdLst>
            <p14:sldId id="257"/>
            <p14:sldId id="490"/>
            <p14:sldId id="520"/>
            <p14:sldId id="500"/>
            <p14:sldId id="554"/>
            <p14:sldId id="555"/>
            <p14:sldId id="543"/>
            <p14:sldId id="545"/>
            <p14:sldId id="546"/>
            <p14:sldId id="556"/>
            <p14:sldId id="5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15" d="100"/>
          <a:sy n="115" d="100"/>
        </p:scale>
        <p:origin x="1386" y="10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20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440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3037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5454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историческим </a:t>
            </a:r>
            <a:r>
              <a:rPr lang="ru-RU" sz="3200" dirty="0" smtClean="0">
                <a:solidFill>
                  <a:srgbClr val="1F497D"/>
                </a:solidFill>
              </a:rPr>
              <a:t>наукам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 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828323" y="5920833"/>
            <a:ext cx="18501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16 апреля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/>
              <a:t>назначить В.В. </a:t>
            </a:r>
            <a:r>
              <a:rPr lang="ru-RU" sz="2000" dirty="0" err="1"/>
              <a:t>Дзюбана</a:t>
            </a:r>
            <a:r>
              <a:rPr lang="ru-RU" sz="2000" dirty="0"/>
              <a:t> на должность ответственного секретаря Научного совета по историческим наукам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721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3286" y="990799"/>
            <a:ext cx="8734514" cy="6085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Определение базовых ведущих университетов и факультетов Научного совета по </a:t>
            </a:r>
            <a:r>
              <a:rPr lang="ru-RU" sz="1600" dirty="0" smtClean="0"/>
              <a:t>историческим </a:t>
            </a:r>
            <a:r>
              <a:rPr lang="ru-RU" sz="1600" dirty="0"/>
              <a:t>наукам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Обсуждение </a:t>
            </a:r>
            <a:r>
              <a:rPr lang="ru-RU" sz="1600" dirty="0" smtClean="0"/>
              <a:t>кандидатур  </a:t>
            </a:r>
            <a:r>
              <a:rPr lang="ru-RU" sz="1600" dirty="0"/>
              <a:t>на премию «Профессор года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Формирование и утверждение состава Экспертного совета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Формирование состава Редакционной коллегии журнала Российского профессорского собрания «Профессорский журнал «Серия: Исторические науки»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оздание </a:t>
            </a:r>
            <a:r>
              <a:rPr lang="ru-RU" sz="1600" dirty="0"/>
              <a:t>рабочей группы  по оценке уровня развития и состояния российских  </a:t>
            </a:r>
            <a:r>
              <a:rPr lang="ru-RU" sz="1600" dirty="0" smtClean="0"/>
              <a:t>исторических  </a:t>
            </a:r>
            <a:r>
              <a:rPr lang="ru-RU" sz="1600" dirty="0"/>
              <a:t>наук и образования, международных тенденций развития </a:t>
            </a:r>
            <a:r>
              <a:rPr lang="ru-RU" sz="1600" dirty="0" smtClean="0"/>
              <a:t>исторических  </a:t>
            </a:r>
            <a:r>
              <a:rPr lang="ru-RU" sz="1600" dirty="0"/>
              <a:t>наук и образования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Создание рабочей группы  по вопросам разработки законопроектов, проектов федеральных целевых программ в части, касающейся российских </a:t>
            </a:r>
            <a:r>
              <a:rPr lang="ru-RU" sz="1600" dirty="0" smtClean="0"/>
              <a:t>исторических  </a:t>
            </a:r>
            <a:r>
              <a:rPr lang="ru-RU" sz="1600" dirty="0"/>
              <a:t>наук и образования, а также по совершенствованию правового регулирования науки и образования в Российской Федерации, разработка федеральных государственных образовательных стандартов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Создание рабочей группы по аттестации научных и научно-педагогических работников в области </a:t>
            </a:r>
            <a:r>
              <a:rPr lang="ru-RU" sz="1600" dirty="0" smtClean="0"/>
              <a:t>исторических  </a:t>
            </a:r>
            <a:r>
              <a:rPr lang="ru-RU" sz="1600" dirty="0"/>
              <a:t>наук и по переподготовке и повышению квалификации научных кадров в области </a:t>
            </a:r>
            <a:r>
              <a:rPr lang="ru-RU" sz="1600" dirty="0" smtClean="0"/>
              <a:t>исторических  </a:t>
            </a:r>
            <a:r>
              <a:rPr lang="ru-RU" sz="1600" dirty="0"/>
              <a:t>наук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Создание рабочей группы по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600" dirty="0" smtClean="0"/>
              <a:t>историческим  </a:t>
            </a:r>
            <a:r>
              <a:rPr lang="ru-RU" sz="1600" dirty="0"/>
              <a:t>наукам, дополнительных профессиональных программ по </a:t>
            </a:r>
            <a:r>
              <a:rPr lang="ru-RU" sz="1600" dirty="0" smtClean="0"/>
              <a:t>историческим  </a:t>
            </a:r>
            <a:r>
              <a:rPr lang="ru-RU" sz="1600" dirty="0"/>
              <a:t>наукам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Создание рабочей группы по </a:t>
            </a:r>
            <a:r>
              <a:rPr lang="ru-RU" sz="1600" dirty="0" smtClean="0"/>
              <a:t>аккредитации </a:t>
            </a:r>
            <a:r>
              <a:rPr lang="ru-RU" sz="1600" dirty="0"/>
              <a:t>научных периодических изданий по </a:t>
            </a:r>
            <a:r>
              <a:rPr lang="ru-RU" sz="1600" dirty="0" smtClean="0"/>
              <a:t>историческим </a:t>
            </a:r>
            <a:r>
              <a:rPr lang="ru-RU" sz="1600" dirty="0"/>
              <a:t>наукам и их </a:t>
            </a:r>
            <a:r>
              <a:rPr lang="ru-RU" sz="1600" dirty="0" err="1"/>
              <a:t>рейтингование</a:t>
            </a:r>
            <a:r>
              <a:rPr lang="ru-RU" sz="1600" dirty="0"/>
              <a:t>, </a:t>
            </a:r>
            <a:r>
              <a:rPr lang="ru-RU" sz="1600" dirty="0" err="1"/>
              <a:t>рэнкингование</a:t>
            </a:r>
            <a:r>
              <a:rPr lang="ru-RU" sz="1600" dirty="0"/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Создание рабочей группы по оценки качества учебных изданий и присвоение грифов РПС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Выборы ответственного секретаря Научного совета по </a:t>
            </a:r>
            <a:r>
              <a:rPr lang="ru-RU" sz="1600" dirty="0" smtClean="0"/>
              <a:t>историческим </a:t>
            </a:r>
            <a:r>
              <a:rPr lang="ru-RU" sz="1600" dirty="0"/>
              <a:t>наукам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  Обсуждение Резолюции Первого Профессорского форума</a:t>
            </a:r>
            <a:r>
              <a:rPr lang="ru-RU" sz="1600" dirty="0" smtClean="0"/>
              <a:t>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Разное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sz="2000" dirty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Всего участвуют </a:t>
            </a:r>
            <a:r>
              <a:rPr lang="ru-RU" dirty="0"/>
              <a:t>в заседании  Научного совета 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r>
              <a:rPr lang="ru-RU" dirty="0" smtClean="0"/>
              <a:t> 28 человек.</a:t>
            </a:r>
          </a:p>
          <a:p>
            <a:pPr algn="just"/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Ведущие российские и региональные университеты - РГГУ,  Финансовый университет, МГИМО, МПГУ,  Военная Академия Генерального штаба Вооруженных сил РФ, Владимирский </a:t>
            </a:r>
            <a:r>
              <a:rPr lang="ru-RU" dirty="0"/>
              <a:t>гос. </a:t>
            </a:r>
            <a:r>
              <a:rPr lang="ru-RU" dirty="0" smtClean="0"/>
              <a:t>университет, Рязанский </a:t>
            </a:r>
            <a:r>
              <a:rPr lang="ru-RU" dirty="0"/>
              <a:t>гос. </a:t>
            </a:r>
            <a:r>
              <a:rPr lang="ru-RU" dirty="0" smtClean="0"/>
              <a:t>университет, </a:t>
            </a:r>
            <a:r>
              <a:rPr lang="ru-RU" dirty="0"/>
              <a:t>Орловский гос. </a:t>
            </a:r>
            <a:r>
              <a:rPr lang="ru-RU" dirty="0" smtClean="0"/>
              <a:t>университет, Орловский гос. университет им. И.С. Тургенева, Забайкальский </a:t>
            </a:r>
            <a:r>
              <a:rPr lang="ru-RU" dirty="0"/>
              <a:t>гос. университет </a:t>
            </a:r>
            <a:r>
              <a:rPr lang="ru-RU" dirty="0" smtClean="0"/>
              <a:t>и др.</a:t>
            </a:r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2. </a:t>
            </a:r>
            <a:r>
              <a:rPr lang="ru-RU" sz="2000" dirty="0"/>
              <a:t>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sz="2000" dirty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086557"/>
            <a:ext cx="8686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</a:t>
            </a:r>
            <a:r>
              <a:rPr lang="ru-RU" dirty="0" smtClean="0">
                <a:cs typeface="Times New Roman" panose="02020603050405020304" pitchFamily="18" charset="0"/>
              </a:rPr>
              <a:t>исторических наук </a:t>
            </a:r>
            <a:r>
              <a:rPr lang="ru-RU" dirty="0" smtClean="0"/>
              <a:t>и </a:t>
            </a:r>
            <a:r>
              <a:rPr lang="ru-RU" dirty="0"/>
              <a:t>образования, международных тенденций развития </a:t>
            </a:r>
            <a:r>
              <a:rPr lang="ru-RU" dirty="0" smtClean="0">
                <a:cs typeface="Times New Roman" panose="02020603050405020304" pitchFamily="18" charset="0"/>
              </a:rPr>
              <a:t>исторических</a:t>
            </a:r>
            <a:r>
              <a:rPr lang="ru-RU" dirty="0" smtClean="0"/>
              <a:t> </a:t>
            </a:r>
            <a:r>
              <a:rPr lang="ru-RU" dirty="0"/>
              <a:t>наук и 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</a:t>
            </a:r>
            <a:r>
              <a:rPr lang="ru-RU" dirty="0" smtClean="0">
                <a:cs typeface="Times New Roman" panose="02020603050405020304" pitchFamily="18" charset="0"/>
              </a:rPr>
              <a:t>исторических </a:t>
            </a:r>
            <a:r>
              <a:rPr lang="ru-RU" dirty="0" smtClean="0"/>
              <a:t>наук </a:t>
            </a:r>
            <a:r>
              <a:rPr lang="ru-RU" dirty="0"/>
              <a:t>и 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dirty="0" smtClean="0">
                <a:cs typeface="Times New Roman" panose="02020603050405020304" pitchFamily="18" charset="0"/>
              </a:rPr>
              <a:t>исторических </a:t>
            </a:r>
            <a:r>
              <a:rPr lang="ru-RU" dirty="0" smtClean="0"/>
              <a:t>наук </a:t>
            </a:r>
            <a:r>
              <a:rPr lang="ru-RU" dirty="0"/>
              <a:t>и по переподготовке и повышению квалификации научных кадров в области </a:t>
            </a:r>
            <a:r>
              <a:rPr lang="ru-RU" dirty="0" smtClean="0">
                <a:cs typeface="Times New Roman" panose="02020603050405020304" pitchFamily="18" charset="0"/>
              </a:rPr>
              <a:t>исторических</a:t>
            </a:r>
            <a:r>
              <a:rPr lang="ru-RU" dirty="0" smtClean="0"/>
              <a:t> </a:t>
            </a:r>
            <a:r>
              <a:rPr lang="ru-RU" dirty="0"/>
              <a:t>наук;</a:t>
            </a:r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</a:t>
            </a:r>
            <a:r>
              <a:rPr lang="ru-RU" dirty="0" smtClean="0"/>
              <a:t> </a:t>
            </a:r>
            <a:r>
              <a:rPr lang="ru-RU" dirty="0"/>
              <a:t>наукам, дополнительных профессиона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</a:t>
            </a:r>
            <a:r>
              <a:rPr lang="ru-RU" dirty="0" smtClean="0"/>
              <a:t> </a:t>
            </a:r>
            <a:r>
              <a:rPr lang="ru-RU" dirty="0"/>
              <a:t>наукам;</a:t>
            </a:r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 smtClean="0">
                <a:cs typeface="Times New Roman" panose="02020603050405020304" pitchFamily="18" charset="0"/>
              </a:rPr>
              <a:t>исторических</a:t>
            </a:r>
            <a:r>
              <a:rPr lang="ru-RU" dirty="0" smtClean="0"/>
              <a:t> </a:t>
            </a:r>
            <a:r>
              <a:rPr lang="ru-RU" dirty="0"/>
              <a:t>периодических изданий 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</a:t>
            </a:r>
            <a:r>
              <a:rPr lang="ru-RU" dirty="0" smtClean="0"/>
              <a:t> </a:t>
            </a:r>
            <a:r>
              <a:rPr lang="ru-RU" dirty="0"/>
              <a:t>наукам и 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</a:t>
            </a:r>
            <a:r>
              <a:rPr lang="ru-RU" dirty="0"/>
              <a:t>«Серия: </a:t>
            </a:r>
            <a:r>
              <a:rPr lang="ru-RU" dirty="0" smtClean="0"/>
              <a:t>исторические </a:t>
            </a:r>
            <a:r>
              <a:rPr lang="ru-RU" dirty="0"/>
              <a:t>науки</a:t>
            </a:r>
            <a:r>
              <a:rPr lang="ru-RU" dirty="0" smtClean="0"/>
              <a:t>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097719"/>
            <a:ext cx="839046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по оценке уровня развития и состояния российских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х наук </a:t>
            </a:r>
            <a:r>
              <a:rPr lang="ru-RU" sz="1600" dirty="0" smtClean="0"/>
              <a:t>и образования, международных тенденций развития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образования, по вопросам разработки законопроектов, проектов федеральных целевых программ в части, касающейся российских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образования, а также по совершенствованию правового регулирования науки и образования в Российской Федерации, разработки федеральных государственных образовательных стандартов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подготовке предложений по совершенствованию системы аттестации научных и научно-педагогических работников в области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по переподготовке и повышению квалификации научных кадров в области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х наук.</a:t>
            </a:r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разработке 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м наукам</a:t>
            </a:r>
            <a:r>
              <a:rPr lang="ru-RU" sz="1600" dirty="0" smtClean="0"/>
              <a:t>, дополнительных профессиональных программ по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sz="1600" dirty="0">
                <a:cs typeface="Times New Roman" panose="02020603050405020304" pitchFamily="18" charset="0"/>
              </a:rPr>
              <a:t>наукам</a:t>
            </a:r>
            <a:r>
              <a:rPr lang="ru-RU" sz="1600" dirty="0" smtClean="0"/>
              <a:t>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r>
              <a:rPr lang="ru-RU" sz="1600" dirty="0" smtClean="0"/>
              <a:t>- Рабочая группа по разработке предложений по аккредитации научных периодических изданий по </a:t>
            </a:r>
            <a:r>
              <a:rPr lang="ru-RU" sz="1600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sz="1600" dirty="0">
                <a:cs typeface="Times New Roman" panose="02020603050405020304" pitchFamily="18" charset="0"/>
              </a:rPr>
              <a:t>наукам</a:t>
            </a:r>
            <a:r>
              <a:rPr lang="ru-RU" sz="1600" dirty="0" smtClean="0"/>
              <a:t> и их </a:t>
            </a:r>
            <a:r>
              <a:rPr lang="ru-RU" sz="1600" dirty="0" err="1" smtClean="0"/>
              <a:t>рейтингованию</a:t>
            </a:r>
            <a:r>
              <a:rPr lang="ru-RU" sz="1600" dirty="0" smtClean="0"/>
              <a:t>, </a:t>
            </a:r>
            <a:r>
              <a:rPr lang="ru-RU" sz="1600" dirty="0" err="1" smtClean="0"/>
              <a:t>рэнкингованию</a:t>
            </a:r>
            <a:r>
              <a:rPr lang="ru-RU" sz="1600" dirty="0" smtClean="0"/>
              <a:t>, а также по разработке предложений по оценке качества учебных изданий и присвоению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417282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sz="1400" dirty="0">
                <a:cs typeface="Times New Roman" panose="02020603050405020304" pitchFamily="18" charset="0"/>
              </a:rPr>
              <a:t>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28133" y="1262255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историче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88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Определить в качестве базовых для формирования Научного </a:t>
            </a:r>
            <a:r>
              <a:rPr lang="ru-RU" sz="2000" dirty="0"/>
              <a:t>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историческим наукам</a:t>
            </a:r>
            <a:r>
              <a:rPr lang="ru-RU" sz="2000" dirty="0"/>
              <a:t> </a:t>
            </a:r>
            <a:r>
              <a:rPr lang="ru-RU" sz="2000" dirty="0" smtClean="0"/>
              <a:t>МГУ, СПбГУ, МПГУ, ИРИ РАН, 10 федеральных университет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/>
              <a:t>отказаться от деления премии «Профессор года» по номинации «Исторические науки» на отдельные номинации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7913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3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/>
              <a:t>включить в состав Экспертного совета Российского профессорского собрания по Историческим наукам представителей МГУ, СПбГУ, ИРИ РАН, МПГУ, 10 федеральных университетов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450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57</TotalTime>
  <Words>770</Words>
  <Application>Microsoft Office PowerPoint</Application>
  <PresentationFormat>Экран (4:3)</PresentationFormat>
  <Paragraphs>72</Paragraphs>
  <Slides>11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Arial</vt:lpstr>
      <vt:lpstr>Arial Narrow</vt:lpstr>
      <vt:lpstr>Calibri</vt:lpstr>
      <vt:lpstr>Times New Roman</vt:lpstr>
      <vt:lpstr>Wingdings</vt:lpstr>
      <vt:lpstr>3_Основная тема Докладов Ректора</vt:lpstr>
      <vt:lpstr>Заседание  Научного совета по историческим наукам Российского профессорского собрания</vt:lpstr>
      <vt:lpstr>Повестка заседания</vt:lpstr>
      <vt:lpstr>1. Состав Научного совета по историческим наукам</vt:lpstr>
      <vt:lpstr>2. Основные задачи Научного совета по историческим наукам</vt:lpstr>
      <vt:lpstr>3. Перечень рабочих групп </vt:lpstr>
      <vt:lpstr>3. О формировании органов управления Научного совета по историческим наукам</vt:lpstr>
      <vt:lpstr>Проект решения по вопросу 1.</vt:lpstr>
      <vt:lpstr>Проект решения по вопросу 2.</vt:lpstr>
      <vt:lpstr>Проект решения по вопросу 3.</vt:lpstr>
      <vt:lpstr>Проект решения по вопросу 11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Пользователь Windows</cp:lastModifiedBy>
  <cp:revision>542</cp:revision>
  <cp:lastPrinted>2018-02-09T11:31:23Z</cp:lastPrinted>
  <dcterms:created xsi:type="dcterms:W3CDTF">2017-01-17T09:26:32Z</dcterms:created>
  <dcterms:modified xsi:type="dcterms:W3CDTF">2018-04-20T19:30:57Z</dcterms:modified>
</cp:coreProperties>
</file>